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7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1" r:id="rId3"/>
    <p:sldMasterId id="2147483676" r:id="rId4"/>
    <p:sldMasterId id="2147483682" r:id="rId5"/>
    <p:sldMasterId id="2147483687" r:id="rId6"/>
    <p:sldMasterId id="2147483692" r:id="rId7"/>
  </p:sldMasterIdLst>
  <p:notesMasterIdLst>
    <p:notesMasterId r:id="rId25"/>
  </p:notesMasterIdLst>
  <p:sldIdLst>
    <p:sldId id="434" r:id="rId8"/>
    <p:sldId id="435" r:id="rId9"/>
    <p:sldId id="444" r:id="rId10"/>
    <p:sldId id="437" r:id="rId11"/>
    <p:sldId id="436" r:id="rId12"/>
    <p:sldId id="445" r:id="rId13"/>
    <p:sldId id="446" r:id="rId14"/>
    <p:sldId id="447" r:id="rId15"/>
    <p:sldId id="450" r:id="rId16"/>
    <p:sldId id="451" r:id="rId17"/>
    <p:sldId id="452" r:id="rId18"/>
    <p:sldId id="455" r:id="rId19"/>
    <p:sldId id="456" r:id="rId20"/>
    <p:sldId id="457" r:id="rId21"/>
    <p:sldId id="453" r:id="rId22"/>
    <p:sldId id="454" r:id="rId23"/>
    <p:sldId id="438" r:id="rId24"/>
  </p:sldIdLst>
  <p:sldSz cx="10693400" cy="7562850"/>
  <p:notesSz cx="9926638" cy="6797675"/>
  <p:custDataLst>
    <p:tags r:id="rId2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4032">
          <p15:clr>
            <a:srgbClr val="A4A3A4"/>
          </p15:clr>
        </p15:guide>
        <p15:guide id="4" orient="horz" pos="2820">
          <p15:clr>
            <a:srgbClr val="A4A3A4"/>
          </p15:clr>
        </p15:guide>
        <p15:guide id="5" orient="horz" pos="2094">
          <p15:clr>
            <a:srgbClr val="A4A3A4"/>
          </p15:clr>
        </p15:guide>
        <p15:guide id="6" orient="horz" pos="1067" userDrawn="1">
          <p15:clr>
            <a:srgbClr val="A4A3A4"/>
          </p15:clr>
        </p15:guide>
        <p15:guide id="7" orient="horz" pos="3600">
          <p15:clr>
            <a:srgbClr val="A4A3A4"/>
          </p15:clr>
        </p15:guide>
        <p15:guide id="8" orient="horz" pos="2951">
          <p15:clr>
            <a:srgbClr val="A4A3A4"/>
          </p15:clr>
        </p15:guide>
        <p15:guide id="9" pos="6336">
          <p15:clr>
            <a:srgbClr val="A4A3A4"/>
          </p15:clr>
        </p15:guide>
        <p15:guide id="10" pos="49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731F"/>
    <a:srgbClr val="7916B0"/>
    <a:srgbClr val="5991A7"/>
    <a:srgbClr val="CC66FF"/>
    <a:srgbClr val="CC99FF"/>
    <a:srgbClr val="D7771F"/>
    <a:srgbClr val="FF8F5A"/>
    <a:srgbClr val="D68049"/>
    <a:srgbClr val="FF67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49" autoAdjust="0"/>
    <p:restoredTop sz="90794" autoAdjust="0"/>
  </p:normalViewPr>
  <p:slideViewPr>
    <p:cSldViewPr snapToGrid="0">
      <p:cViewPr>
        <p:scale>
          <a:sx n="63" d="100"/>
          <a:sy n="63" d="100"/>
        </p:scale>
        <p:origin x="-1224" y="-72"/>
      </p:cViewPr>
      <p:guideLst>
        <p:guide orient="horz" pos="2880"/>
        <p:guide orient="horz" pos="4032"/>
        <p:guide orient="horz" pos="2820"/>
        <p:guide orient="horz" pos="2094"/>
        <p:guide orient="horz" pos="1067"/>
        <p:guide orient="horz" pos="3600"/>
        <p:guide orient="horz" pos="2951"/>
        <p:guide pos="2160"/>
        <p:guide pos="6336"/>
        <p:guide pos="498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_&#1057;&#1076;&#1077;&#1083;&#1072;&#1085;&#1086;%20&#1076;&#1086;&#1084;&#1072;\2017-10-11\2017.10.16_&#1041;&#1091;&#1076;&#1091;&#1097;&#1077;&#1077;%20&#1085;&#1072;&#1091;&#1082;&#1080;\&#1056;&#1077;&#1089;&#1091;&#1088;&#1089;_&#1044;&#1080;&#1072;&#1075;&#1088;&#1072;&#1084;&#1084;&#1099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43;&#1086;&#1089;&#1048;&#1085;&#1092;&#1086;&#1088;&#1084;&#1056;&#1077;&#1089;&#1091;&#1088;&#1089;\&#1043;&#1048;&#1056;_&#1054;&#1090;&#1095;&#1077;&#1090;&#1099;\2016.11.16_&#1043;&#1048;&#1056;_&#1040;&#1085;&#1072;&#1083;&#1080;&#1090;&#1080;&#1095;&#1077;&#1089;&#1082;&#1080;&#1081;%20&#1086;&#1090;&#1095;&#1077;&#1090;\&#1044;&#1080;&#1072;&#1075;&#1088;&#1072;&#1084;&#1084;&#1099;&#1054;&#1090;&#1095;&#1077;&#1090;&#1072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_&#1057;&#1076;&#1077;&#1083;&#1072;&#1085;&#1086;%20&#1076;&#1086;&#1084;&#1072;\2017-10-11\2017.10.16_&#1041;&#1091;&#1076;&#1091;&#1097;&#1077;&#1077;%20&#1085;&#1072;&#1091;&#1082;&#1080;\&#1056;&#1077;&#1089;&#1091;&#1088;&#1089;_&#1044;&#1080;&#1072;&#1075;&#1088;&#1072;&#1084;&#1084;&#1099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Общая!$B$1</c:f>
          <c:strCache>
            <c:ptCount val="1"/>
            <c:pt idx="0">
              <c:v>Количество результатов, ед.</c:v>
            </c:pt>
          </c:strCache>
        </c:strRef>
      </c:tx>
      <c:layout/>
      <c:overlay val="0"/>
      <c:txPr>
        <a:bodyPr/>
        <a:lstStyle/>
        <a:p>
          <a:pPr>
            <a:defRPr sz="1200"/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spPr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Общая!$A$3:$A$5</c:f>
              <c:strCache>
                <c:ptCount val="3"/>
                <c:pt idx="0">
                  <c:v>2014-2015</c:v>
                </c:pt>
                <c:pt idx="1">
                  <c:v>2015-2016</c:v>
                </c:pt>
                <c:pt idx="2">
                  <c:v>2016-2017</c:v>
                </c:pt>
              </c:strCache>
            </c:strRef>
          </c:cat>
          <c:val>
            <c:numRef>
              <c:f>Общая!$D$3:$D$5</c:f>
              <c:numCache>
                <c:formatCode>General</c:formatCode>
                <c:ptCount val="3"/>
                <c:pt idx="0">
                  <c:v>7774</c:v>
                </c:pt>
                <c:pt idx="1">
                  <c:v>6791</c:v>
                </c:pt>
                <c:pt idx="2">
                  <c:v>56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7407104"/>
        <c:axId val="27408640"/>
      </c:barChart>
      <c:catAx>
        <c:axId val="274071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ru-RU"/>
          </a:p>
        </c:txPr>
        <c:crossAx val="27408640"/>
        <c:crosses val="autoZero"/>
        <c:auto val="1"/>
        <c:lblAlgn val="ctr"/>
        <c:lblOffset val="100"/>
        <c:noMultiLvlLbl val="0"/>
      </c:catAx>
      <c:valAx>
        <c:axId val="27408640"/>
        <c:scaling>
          <c:orientation val="minMax"/>
          <c:max val="10000"/>
          <c:min val="0"/>
        </c:scaling>
        <c:delete val="0"/>
        <c:axPos val="l"/>
        <c:majorGridlines>
          <c:spPr>
            <a:ln w="3175"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27407104"/>
        <c:crosses val="autoZero"/>
        <c:crossBetween val="between"/>
        <c:majorUnit val="2000"/>
      </c:valAx>
      <c:spPr>
        <a:noFill/>
      </c:spPr>
    </c:plotArea>
    <c:plotVisOnly val="1"/>
    <c:dispBlanksAs val="gap"/>
    <c:showDLblsOverMax val="0"/>
  </c:chart>
  <c:spPr>
    <a:noFill/>
    <a:ln w="3175">
      <a:noFill/>
    </a:ln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45598402664999"/>
          <c:y val="6.9702419096315957E-2"/>
          <c:w val="0.83611786585228465"/>
          <c:h val="0.799228699527002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Общая!$B$7</c:f>
              <c:strCache>
                <c:ptCount val="1"/>
                <c:pt idx="0">
                  <c:v>Всего мероприятий в перечне (приказ № 1384)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Общая!$A$8:$A$10</c:f>
              <c:strCache>
                <c:ptCount val="3"/>
                <c:pt idx="0">
                  <c:v>2014-2015</c:v>
                </c:pt>
                <c:pt idx="1">
                  <c:v>2015-2016</c:v>
                </c:pt>
                <c:pt idx="2">
                  <c:v>2016-2017</c:v>
                </c:pt>
              </c:strCache>
            </c:strRef>
          </c:cat>
          <c:val>
            <c:numRef>
              <c:f>Общая!$B$8:$B$10</c:f>
              <c:numCache>
                <c:formatCode>General</c:formatCode>
                <c:ptCount val="3"/>
                <c:pt idx="0">
                  <c:v>38</c:v>
                </c:pt>
                <c:pt idx="1">
                  <c:v>34</c:v>
                </c:pt>
                <c:pt idx="2">
                  <c:v>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7417216"/>
        <c:axId val="27439488"/>
      </c:barChart>
      <c:catAx>
        <c:axId val="27417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ru-RU"/>
          </a:p>
        </c:txPr>
        <c:crossAx val="27439488"/>
        <c:crosses val="autoZero"/>
        <c:auto val="1"/>
        <c:lblAlgn val="ctr"/>
        <c:lblOffset val="100"/>
        <c:noMultiLvlLbl val="0"/>
      </c:catAx>
      <c:valAx>
        <c:axId val="27439488"/>
        <c:scaling>
          <c:orientation val="minMax"/>
          <c:max val="75"/>
          <c:min val="0"/>
        </c:scaling>
        <c:delete val="0"/>
        <c:axPos val="l"/>
        <c:majorGridlines>
          <c:spPr>
            <a:ln w="3175"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27417216"/>
        <c:crosses val="autoZero"/>
        <c:crossBetween val="between"/>
        <c:majorUnit val="25"/>
        <c:minorUnit val="5"/>
      </c:valAx>
      <c:spPr>
        <a:noFill/>
      </c:spPr>
    </c:plotArea>
    <c:plotVisOnly val="1"/>
    <c:dispBlanksAs val="gap"/>
    <c:showDLblsOverMax val="0"/>
  </c:chart>
  <c:spPr>
    <a:noFill/>
    <a:ln w="3175">
      <a:noFill/>
    </a:ln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300001879240035E-2"/>
          <c:y val="4.9405000845482543E-2"/>
          <c:w val="0.78840187349462676"/>
          <c:h val="0.91207275561143097"/>
        </c:manualLayout>
      </c:layout>
      <c:doughnutChart>
        <c:varyColors val="1"/>
        <c:ser>
          <c:idx val="2"/>
          <c:order val="0"/>
          <c:tx>
            <c:strRef>
              <c:f>Итоги!$E$19</c:f>
              <c:strCache>
                <c:ptCount val="1"/>
                <c:pt idx="0">
                  <c:v>Всего результатов, ед.</c:v>
                </c:pt>
              </c:strCache>
            </c:strRef>
          </c:tx>
          <c:spPr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CC99FF"/>
              </a:solidFill>
              <a:ln w="6350"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rgbClr val="FFC000"/>
              </a:solidFill>
              <a:ln w="6350"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</c:spPr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Итоги!$B$19:$D$19</c:f>
              <c:strCache>
                <c:ptCount val="3"/>
                <c:pt idx="0">
                  <c:v>Наука</c:v>
                </c:pt>
                <c:pt idx="1">
                  <c:v>Искусство</c:v>
                </c:pt>
                <c:pt idx="2">
                  <c:v>Спорт</c:v>
                </c:pt>
              </c:strCache>
            </c:strRef>
          </c:cat>
          <c:val>
            <c:numRef>
              <c:f>Итоги!$B$24:$D$24</c:f>
              <c:numCache>
                <c:formatCode>General</c:formatCode>
                <c:ptCount val="3"/>
                <c:pt idx="0">
                  <c:v>10311</c:v>
                </c:pt>
                <c:pt idx="1">
                  <c:v>2702</c:v>
                </c:pt>
                <c:pt idx="2">
                  <c:v>72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0"/>
        <c:holeSize val="40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642" cy="339599"/>
          </a:xfrm>
          <a:prstGeom prst="rect">
            <a:avLst/>
          </a:prstGeom>
        </p:spPr>
        <p:txBody>
          <a:bodyPr vert="horz" lIns="83753" tIns="41877" rIns="83753" bIns="41877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524" y="0"/>
            <a:ext cx="4300168" cy="339599"/>
          </a:xfrm>
          <a:prstGeom prst="rect">
            <a:avLst/>
          </a:prstGeom>
        </p:spPr>
        <p:txBody>
          <a:bodyPr vert="horz" lIns="83753" tIns="41877" rIns="83753" bIns="41877" rtlCol="0"/>
          <a:lstStyle>
            <a:lvl1pPr algn="r">
              <a:defRPr sz="1100"/>
            </a:lvl1pPr>
          </a:lstStyle>
          <a:p>
            <a:fld id="{E98F1A5E-29C0-F346-8958-02AC48FD47C9}" type="datetimeFigureOut">
              <a:rPr lang="ru-RU" smtClean="0"/>
              <a:t>14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159125" y="508000"/>
            <a:ext cx="3608388" cy="2551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753" tIns="41877" rIns="83753" bIns="4187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254" y="3229039"/>
            <a:ext cx="7940131" cy="3059239"/>
          </a:xfrm>
          <a:prstGeom prst="rect">
            <a:avLst/>
          </a:prstGeom>
        </p:spPr>
        <p:txBody>
          <a:bodyPr vert="horz" lIns="83753" tIns="41877" rIns="83753" bIns="4187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650"/>
            <a:ext cx="4301642" cy="339599"/>
          </a:xfrm>
          <a:prstGeom prst="rect">
            <a:avLst/>
          </a:prstGeom>
        </p:spPr>
        <p:txBody>
          <a:bodyPr vert="horz" lIns="83753" tIns="41877" rIns="83753" bIns="41877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524" y="6456650"/>
            <a:ext cx="4300168" cy="339599"/>
          </a:xfrm>
          <a:prstGeom prst="rect">
            <a:avLst/>
          </a:prstGeom>
        </p:spPr>
        <p:txBody>
          <a:bodyPr vert="horz" lIns="83753" tIns="41877" rIns="83753" bIns="41877" rtlCol="0" anchor="b"/>
          <a:lstStyle>
            <a:lvl1pPr algn="r">
              <a:defRPr sz="1100"/>
            </a:lvl1pPr>
          </a:lstStyle>
          <a:p>
            <a:fld id="{0C08F85B-1F73-0346-B5AA-B4C5E0F27C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14427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2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9504601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11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330734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12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3747009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13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8591960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14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7157827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15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0166549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16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8975427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17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9847755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3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194605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4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6300578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5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4011388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6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42786206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7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857012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8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7421054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9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5777748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C39D664-40FC-4988-A439-856FC5930C87}" type="slidenum">
              <a:rPr lang="ru-RU" altLang="ru-RU" smtClean="0"/>
              <a:pPr/>
              <a:t>10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207718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02005" y="2344483"/>
            <a:ext cx="9089390" cy="1588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604010" y="4235196"/>
            <a:ext cx="7485380" cy="18907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4139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690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1078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13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58756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04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3378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4271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008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84154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1627200"/>
            <a:ext cx="5706110" cy="1555750"/>
          </a:xfrm>
          <a:custGeom>
            <a:avLst/>
            <a:gdLst/>
            <a:ahLst/>
            <a:cxnLst/>
            <a:rect l="l" t="t" r="r" b="b"/>
            <a:pathLst>
              <a:path w="5706110" h="1555750">
                <a:moveTo>
                  <a:pt x="0" y="1555191"/>
                </a:moveTo>
                <a:lnTo>
                  <a:pt x="5706008" y="1555191"/>
                </a:lnTo>
                <a:lnTo>
                  <a:pt x="5706008" y="0"/>
                </a:lnTo>
                <a:lnTo>
                  <a:pt x="0" y="0"/>
                </a:lnTo>
                <a:lnTo>
                  <a:pt x="0" y="1555191"/>
                </a:lnTo>
                <a:close/>
              </a:path>
            </a:pathLst>
          </a:custGeom>
          <a:solidFill>
            <a:srgbClr val="8431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chemeClr val="bg1"/>
                </a:solidFill>
                <a:latin typeface="Geometria"/>
                <a:cs typeface="Geometr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245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9442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825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11554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220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8759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702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1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89788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0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306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2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088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chemeClr val="bg1"/>
                </a:solidFill>
                <a:latin typeface="Geometria"/>
                <a:cs typeface="Geometr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34670" y="1739455"/>
            <a:ext cx="4651629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507101" y="1739455"/>
            <a:ext cx="4651629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5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734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7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9424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chemeClr val="bg1"/>
                </a:solidFill>
                <a:latin typeface="Geometria"/>
                <a:cs typeface="Geometr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802005" y="2349387"/>
            <a:ext cx="9089391" cy="30777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4011" y="4285616"/>
            <a:ext cx="748538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3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6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9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2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59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9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92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05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4670" y="7033450"/>
            <a:ext cx="2459482" cy="276999"/>
          </a:xfrm>
        </p:spPr>
        <p:txBody>
          <a:bodyPr/>
          <a:lstStyle/>
          <a:p>
            <a:fld id="{2905E18B-5ABF-5243-898D-978703805D1B}" type="datetimeFigureOut">
              <a:rPr lang="ru-RU" smtClean="0"/>
              <a:pPr/>
              <a:t>14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35756" y="7033450"/>
            <a:ext cx="3421888" cy="276999"/>
          </a:xfr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699248" y="7033450"/>
            <a:ext cx="2459482" cy="276999"/>
          </a:xfrm>
        </p:spPr>
        <p:txBody>
          <a:bodyPr/>
          <a:lstStyle/>
          <a:p>
            <a:fld id="{60808784-DB1F-CC40-B05D-1FF014B16BA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5213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777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3038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5" y="1787"/>
          <a:ext cx="1894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5" y="1787"/>
                        <a:ext cx="1894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3572"/>
            <a:ext cx="6471909" cy="7559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73760"/>
          <a:stretch/>
        </p:blipFill>
        <p:spPr>
          <a:xfrm>
            <a:off x="6216994" y="3572"/>
            <a:ext cx="4476406" cy="7559278"/>
          </a:xfrm>
          <a:prstGeom prst="rect">
            <a:avLst/>
          </a:prstGeom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4887327" y="5527113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</a:t>
            </a:r>
            <a:r>
              <a:rPr lang="en-US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4887327" y="5828432"/>
            <a:ext cx="5504256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87329" y="1993421"/>
            <a:ext cx="5504254" cy="1108170"/>
          </a:xfrm>
          <a:prstGeom prst="rect">
            <a:avLst/>
          </a:prstGeom>
        </p:spPr>
        <p:txBody>
          <a:bodyPr/>
          <a:lstStyle>
            <a:lvl1pPr algn="ctr">
              <a:defRPr sz="3601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</a:t>
            </a:r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en-US" noProof="0" dirty="0" smtClean="0"/>
              <a:t>Master title style</a:t>
            </a:r>
            <a:endParaRPr lang="ru-RU" noProof="0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59" y="4270254"/>
            <a:ext cx="2971992" cy="96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940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7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8.xml"/><Relationship Id="rId9" Type="http://schemas.openxmlformats.org/officeDocument/2006/relationships/oleObject" Target="../embeddings/oleObject1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22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vmlDrawing" Target="../drawings/vmlDrawing15.vml"/><Relationship Id="rId5" Type="http://schemas.openxmlformats.org/officeDocument/2006/relationships/theme" Target="../theme/theme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vmlDrawing" Target="../drawings/vmlDrawing20.vml"/><Relationship Id="rId5" Type="http://schemas.openxmlformats.org/officeDocument/2006/relationships/theme" Target="../theme/theme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26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vmlDrawing" Target="../drawings/vmlDrawing25.vml"/><Relationship Id="rId5" Type="http://schemas.openxmlformats.org/officeDocument/2006/relationships/theme" Target="../theme/theme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934309" y="2562318"/>
            <a:ext cx="4824780" cy="4978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chemeClr val="bg1"/>
                </a:solidFill>
                <a:latin typeface="Geometria"/>
                <a:cs typeface="Geometr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34670" y="1739455"/>
            <a:ext cx="9624060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635756" y="7033450"/>
            <a:ext cx="3421888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34670" y="7033450"/>
            <a:ext cx="2459482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699248" y="7033450"/>
            <a:ext cx="2459482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7" r:id="rId6"/>
  </p:sldLayoutIdLst>
  <p:timing>
    <p:tnLst>
      <p:par>
        <p:cTn id="1" dur="indefinite" restart="never" nodeType="tmRoot"/>
      </p:par>
    </p:tnLst>
  </p:timing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89431" cy="1786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9431" cy="1786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33298" y="2195264"/>
            <a:ext cx="5133589" cy="1385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2076" y="259002"/>
            <a:ext cx="8760278" cy="32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2074" y="30366"/>
            <a:ext cx="965008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575" dirty="0" smtClean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ru-RU" sz="1575" dirty="0">
              <a:solidFill>
                <a:srgbClr val="80808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2074" y="598384"/>
            <a:ext cx="102842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42075" y="7039012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3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42075" y="7284180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85922" indent="-685922" defTabSz="1007448" fontAlgn="base">
              <a:spcBef>
                <a:spcPct val="0"/>
              </a:spcBef>
              <a:spcAft>
                <a:spcPct val="0"/>
              </a:spcAft>
              <a:tabLst>
                <a:tab pos="689494" algn="l"/>
              </a:tabLst>
            </a:pPr>
            <a:r>
              <a:rPr lang="ru-RU" sz="1013" dirty="0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ИСТОЧНИК: источник</a:t>
            </a:r>
            <a:endParaRPr lang="ru-RU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733298" y="1268216"/>
            <a:ext cx="5088126" cy="571591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 smtClean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 smtClean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ru-RU" sz="1800" dirty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10322115" y="7276379"/>
            <a:ext cx="249102" cy="1714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13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9077" y="78767"/>
            <a:ext cx="1572930" cy="509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044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hf hdr="0" ftr="0" dt="0"/>
  <p:txStyles>
    <p:titleStyle>
      <a:lvl1pPr algn="l" defTabSz="1007448" rtl="0" eaLnBrk="1" fontAlgn="base" hangingPunct="1">
        <a:spcBef>
          <a:spcPct val="0"/>
        </a:spcBef>
        <a:spcAft>
          <a:spcPct val="0"/>
        </a:spcAft>
        <a:tabLst>
          <a:tab pos="401908" algn="l"/>
        </a:tabLst>
        <a:defRPr sz="2138" b="0" i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2pPr>
      <a:lvl3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3pPr>
      <a:lvl4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4pPr>
      <a:lvl5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5pPr>
      <a:lvl6pPr marL="514441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6pPr>
      <a:lvl7pPr marL="1028883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7pPr>
      <a:lvl8pPr marL="1543324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8pPr>
      <a:lvl9pPr marL="2057766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7923" indent="-216137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514441" indent="-29473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91281" indent="-17505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441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883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324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766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2207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649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109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532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89431" cy="1786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9431" cy="1786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33298" y="2195264"/>
            <a:ext cx="5133589" cy="1385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2076" y="259002"/>
            <a:ext cx="8760278" cy="32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2074" y="30366"/>
            <a:ext cx="965008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575" dirty="0" smtClean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ru-RU" sz="1575" dirty="0">
              <a:solidFill>
                <a:srgbClr val="80808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2074" y="598384"/>
            <a:ext cx="102842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42075" y="7039012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3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42075" y="7284180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85922" indent="-685922" defTabSz="1007448" fontAlgn="base">
              <a:spcBef>
                <a:spcPct val="0"/>
              </a:spcBef>
              <a:spcAft>
                <a:spcPct val="0"/>
              </a:spcAft>
              <a:tabLst>
                <a:tab pos="689494" algn="l"/>
              </a:tabLst>
            </a:pPr>
            <a:r>
              <a:rPr lang="ru-RU" sz="1013" dirty="0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ИСТОЧНИК: источник</a:t>
            </a:r>
            <a:endParaRPr lang="ru-RU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733298" y="1268216"/>
            <a:ext cx="5088126" cy="571591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 smtClean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 smtClean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ru-RU" sz="1800" dirty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10322115" y="7276379"/>
            <a:ext cx="249102" cy="1714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13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9077" y="78767"/>
            <a:ext cx="1572930" cy="509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831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</p:sldLayoutIdLst>
  <p:hf hdr="0" ftr="0" dt="0"/>
  <p:txStyles>
    <p:titleStyle>
      <a:lvl1pPr algn="l" defTabSz="1007448" rtl="0" eaLnBrk="1" fontAlgn="base" hangingPunct="1">
        <a:spcBef>
          <a:spcPct val="0"/>
        </a:spcBef>
        <a:spcAft>
          <a:spcPct val="0"/>
        </a:spcAft>
        <a:tabLst>
          <a:tab pos="401908" algn="l"/>
        </a:tabLst>
        <a:defRPr sz="2138" b="0" i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2pPr>
      <a:lvl3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3pPr>
      <a:lvl4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4pPr>
      <a:lvl5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5pPr>
      <a:lvl6pPr marL="514441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6pPr>
      <a:lvl7pPr marL="1028883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7pPr>
      <a:lvl8pPr marL="1543324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8pPr>
      <a:lvl9pPr marL="2057766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7923" indent="-216137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514441" indent="-29473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91281" indent="-17505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441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883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324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766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2207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649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109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532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89431" cy="1786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9431" cy="1786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33298" y="2195264"/>
            <a:ext cx="5133589" cy="1385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2076" y="259002"/>
            <a:ext cx="8760278" cy="32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2075" y="30366"/>
            <a:ext cx="742319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575" dirty="0" smtClean="0">
                <a:solidFill>
                  <a:srgbClr val="80808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TRACKER</a:t>
            </a:r>
            <a:endParaRPr lang="ru-RU" sz="1575" dirty="0">
              <a:solidFill>
                <a:srgbClr val="80808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2074" y="598384"/>
            <a:ext cx="102842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 smtClean="0">
                <a:solidFill>
                  <a:srgbClr val="80808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42075" y="7039012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3" dirty="0" smtClean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42075" y="7284180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85922" indent="-685922" defTabSz="1007448" fontAlgn="base">
              <a:spcBef>
                <a:spcPct val="0"/>
              </a:spcBef>
              <a:spcAft>
                <a:spcPct val="0"/>
              </a:spcAft>
              <a:tabLst>
                <a:tab pos="689494" algn="l"/>
              </a:tabLst>
            </a:pPr>
            <a:r>
              <a:rPr lang="ru-RU" sz="1013" dirty="0" smtClean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ИСТОЧНИК: источник</a:t>
            </a:r>
            <a:endParaRPr lang="ru-RU" sz="1013" dirty="0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733298" y="1268216"/>
            <a:ext cx="5088126" cy="571591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 smtClean="0">
                  <a:solidFill>
                    <a:srgbClr val="000000"/>
                  </a:solidFill>
                  <a:latin typeface="Calibri" panose="020F0502020204030204" pitchFamily="34" charset="0"/>
                  <a:sym typeface="Calibri" panose="020F050202020403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 smtClean="0">
                  <a:solidFill>
                    <a:srgbClr val="808080"/>
                  </a:solidFill>
                  <a:latin typeface="Calibri" panose="020F0502020204030204" pitchFamily="34" charset="0"/>
                  <a:sym typeface="Calibri" panose="020F0502020204030204" pitchFamily="34" charset="0"/>
                </a:rPr>
                <a:t>Unit of measure</a:t>
              </a:r>
              <a:endParaRPr lang="ru-RU" sz="1800" dirty="0">
                <a:solidFill>
                  <a:srgbClr val="80808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10322115" y="7276379"/>
            <a:ext cx="249102" cy="1714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13" smtClean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13" dirty="0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9077" y="78767"/>
            <a:ext cx="1572930" cy="509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427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hf hdr="0" ftr="0" dt="0"/>
  <p:txStyles>
    <p:titleStyle>
      <a:lvl1pPr algn="l" defTabSz="1007448" rtl="0" eaLnBrk="1" fontAlgn="base" hangingPunct="1">
        <a:spcBef>
          <a:spcPct val="0"/>
        </a:spcBef>
        <a:spcAft>
          <a:spcPct val="0"/>
        </a:spcAft>
        <a:tabLst>
          <a:tab pos="401908" algn="l"/>
        </a:tabLst>
        <a:defRPr sz="2138" b="0" i="0">
          <a:solidFill>
            <a:schemeClr val="accent4"/>
          </a:solidFill>
          <a:latin typeface="Calibri" panose="020F0502020204030204" pitchFamily="34" charset="0"/>
          <a:ea typeface="+mj-ea"/>
          <a:cs typeface="+mj-cs"/>
          <a:sym typeface="Calibri" panose="020F0502020204030204" pitchFamily="34" charset="0"/>
        </a:defRPr>
      </a:lvl1pPr>
      <a:lvl2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2pPr>
      <a:lvl3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3pPr>
      <a:lvl4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4pPr>
      <a:lvl5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5pPr>
      <a:lvl6pPr marL="514441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6pPr>
      <a:lvl7pPr marL="1028883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7pPr>
      <a:lvl8pPr marL="1543324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8pPr>
      <a:lvl9pPr marL="2057766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Calibri" panose="020F0502020204030204" pitchFamily="34" charset="0"/>
          <a:ea typeface="+mn-ea"/>
          <a:cs typeface="+mn-cs"/>
          <a:sym typeface="Calibri" panose="020F0502020204030204" pitchFamily="34" charset="0"/>
        </a:defRPr>
      </a:lvl1pPr>
      <a:lvl2pPr marL="217923" indent="-216137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Calibri" panose="020F0502020204030204" pitchFamily="34" charset="0"/>
          <a:sym typeface="Calibri" panose="020F0502020204030204" pitchFamily="34" charset="0"/>
        </a:defRPr>
      </a:lvl2pPr>
      <a:lvl3pPr marL="514441" indent="-29473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sym typeface="Calibri" panose="020F0502020204030204" pitchFamily="34" charset="0"/>
        </a:defRPr>
      </a:lvl3pPr>
      <a:lvl4pPr marL="691281" indent="-17505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Calibri" panose="020F0502020204030204" pitchFamily="34" charset="0"/>
          <a:sym typeface="Calibri" panose="020F0502020204030204" pitchFamily="34" charset="0"/>
        </a:defRPr>
      </a:lvl4pPr>
      <a:lvl5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800">
          <a:solidFill>
            <a:schemeClr val="tx1"/>
          </a:solidFill>
          <a:latin typeface="Calibri" panose="020F0502020204030204" pitchFamily="34" charset="0"/>
          <a:sym typeface="Calibri" panose="020F0502020204030204" pitchFamily="34" charset="0"/>
        </a:defRPr>
      </a:lvl5pPr>
      <a:lvl6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441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883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324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766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2207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649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109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532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89431" cy="1786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9431" cy="1786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33298" y="2195264"/>
            <a:ext cx="5133589" cy="1385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2076" y="259002"/>
            <a:ext cx="8760278" cy="32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2074" y="30366"/>
            <a:ext cx="965008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575" dirty="0" smtClean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ru-RU" sz="1575" dirty="0">
              <a:solidFill>
                <a:srgbClr val="80808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2074" y="598384"/>
            <a:ext cx="102842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42075" y="7039012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3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42075" y="7284180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85922" indent="-685922" defTabSz="1007448" fontAlgn="base">
              <a:spcBef>
                <a:spcPct val="0"/>
              </a:spcBef>
              <a:spcAft>
                <a:spcPct val="0"/>
              </a:spcAft>
              <a:tabLst>
                <a:tab pos="689494" algn="l"/>
              </a:tabLst>
            </a:pPr>
            <a:r>
              <a:rPr lang="ru-RU" sz="1013" dirty="0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ИСТОЧНИК: источник</a:t>
            </a:r>
            <a:endParaRPr lang="ru-RU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733298" y="1268216"/>
            <a:ext cx="5088126" cy="571591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 smtClean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 smtClean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ru-RU" sz="1800" dirty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10322115" y="7276379"/>
            <a:ext cx="249102" cy="1714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13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9077" y="78767"/>
            <a:ext cx="1572930" cy="509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889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</p:sldLayoutIdLst>
  <p:hf hdr="0" ftr="0" dt="0"/>
  <p:txStyles>
    <p:titleStyle>
      <a:lvl1pPr algn="l" defTabSz="1007448" rtl="0" eaLnBrk="1" fontAlgn="base" hangingPunct="1">
        <a:spcBef>
          <a:spcPct val="0"/>
        </a:spcBef>
        <a:spcAft>
          <a:spcPct val="0"/>
        </a:spcAft>
        <a:tabLst>
          <a:tab pos="401908" algn="l"/>
        </a:tabLst>
        <a:defRPr sz="2138" b="0" i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2pPr>
      <a:lvl3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3pPr>
      <a:lvl4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4pPr>
      <a:lvl5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5pPr>
      <a:lvl6pPr marL="514441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6pPr>
      <a:lvl7pPr marL="1028883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7pPr>
      <a:lvl8pPr marL="1543324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8pPr>
      <a:lvl9pPr marL="2057766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7923" indent="-216137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514441" indent="-29473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91281" indent="-17505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441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883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324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766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2207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649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109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532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89431" cy="1786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9431" cy="1786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33298" y="2195264"/>
            <a:ext cx="5133589" cy="1385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2076" y="259002"/>
            <a:ext cx="8760278" cy="32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2074" y="30366"/>
            <a:ext cx="965008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575" dirty="0" smtClean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ru-RU" sz="1575" dirty="0">
              <a:solidFill>
                <a:srgbClr val="80808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2074" y="598384"/>
            <a:ext cx="102842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42075" y="7039012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3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42075" y="7284180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85922" indent="-685922" defTabSz="1007448" fontAlgn="base">
              <a:spcBef>
                <a:spcPct val="0"/>
              </a:spcBef>
              <a:spcAft>
                <a:spcPct val="0"/>
              </a:spcAft>
              <a:tabLst>
                <a:tab pos="689494" algn="l"/>
              </a:tabLst>
            </a:pPr>
            <a:r>
              <a:rPr lang="ru-RU" sz="1013" dirty="0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ИСТОЧНИК: источник</a:t>
            </a:r>
            <a:endParaRPr lang="ru-RU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733298" y="1268216"/>
            <a:ext cx="5088126" cy="571591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 smtClean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 smtClean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ru-RU" sz="1800" dirty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10322115" y="7276379"/>
            <a:ext cx="249102" cy="1714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13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9077" y="78767"/>
            <a:ext cx="1572930" cy="509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135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</p:sldLayoutIdLst>
  <p:hf hdr="0" ftr="0" dt="0"/>
  <p:txStyles>
    <p:titleStyle>
      <a:lvl1pPr algn="l" defTabSz="1007448" rtl="0" eaLnBrk="1" fontAlgn="base" hangingPunct="1">
        <a:spcBef>
          <a:spcPct val="0"/>
        </a:spcBef>
        <a:spcAft>
          <a:spcPct val="0"/>
        </a:spcAft>
        <a:tabLst>
          <a:tab pos="401908" algn="l"/>
        </a:tabLst>
        <a:defRPr sz="2138" b="0" i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2pPr>
      <a:lvl3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3pPr>
      <a:lvl4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4pPr>
      <a:lvl5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5pPr>
      <a:lvl6pPr marL="514441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6pPr>
      <a:lvl7pPr marL="1028883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7pPr>
      <a:lvl8pPr marL="1543324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8pPr>
      <a:lvl9pPr marL="2057766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7923" indent="-216137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514441" indent="-29473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91281" indent="-17505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441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883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324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766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2207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649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109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532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89431" cy="1786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9431" cy="1786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33298" y="2195264"/>
            <a:ext cx="5133589" cy="1385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2076" y="259002"/>
            <a:ext cx="8760278" cy="32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2074" y="30366"/>
            <a:ext cx="965008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575" dirty="0" smtClean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ru-RU" sz="1575" dirty="0">
              <a:solidFill>
                <a:srgbClr val="80808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2074" y="598384"/>
            <a:ext cx="102842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42075" y="7039012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3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42075" y="7284180"/>
            <a:ext cx="10075851" cy="155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85922" indent="-685922" defTabSz="1007448" fontAlgn="base">
              <a:spcBef>
                <a:spcPct val="0"/>
              </a:spcBef>
              <a:spcAft>
                <a:spcPct val="0"/>
              </a:spcAft>
              <a:tabLst>
                <a:tab pos="689494" algn="l"/>
              </a:tabLst>
            </a:pPr>
            <a:r>
              <a:rPr lang="ru-RU" sz="1013" dirty="0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ИСТОЧНИК: источник</a:t>
            </a:r>
            <a:endParaRPr lang="ru-RU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733298" y="1268216"/>
            <a:ext cx="5088126" cy="571591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 smtClean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 smtClean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ru-RU" sz="1800" dirty="0">
                <a:solidFill>
                  <a:srgbClr val="80808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10322115" y="7276379"/>
            <a:ext cx="249102" cy="1714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13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13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9077" y="78767"/>
            <a:ext cx="1572930" cy="509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35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</p:sldLayoutIdLst>
  <p:hf hdr="0" ftr="0" dt="0"/>
  <p:txStyles>
    <p:titleStyle>
      <a:lvl1pPr algn="l" defTabSz="1007448" rtl="0" eaLnBrk="1" fontAlgn="base" hangingPunct="1">
        <a:spcBef>
          <a:spcPct val="0"/>
        </a:spcBef>
        <a:spcAft>
          <a:spcPct val="0"/>
        </a:spcAft>
        <a:tabLst>
          <a:tab pos="401908" algn="l"/>
        </a:tabLst>
        <a:defRPr sz="2138" b="0" i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2pPr>
      <a:lvl3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3pPr>
      <a:lvl4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4pPr>
      <a:lvl5pPr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5pPr>
      <a:lvl6pPr marL="514441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6pPr>
      <a:lvl7pPr marL="1028883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7pPr>
      <a:lvl8pPr marL="1543324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8pPr>
      <a:lvl9pPr marL="2057766" algn="l" defTabSz="1007448" rtl="0" eaLnBrk="1" fontAlgn="base" hangingPunct="1">
        <a:spcBef>
          <a:spcPct val="0"/>
        </a:spcBef>
        <a:spcAft>
          <a:spcPct val="0"/>
        </a:spcAft>
        <a:defRPr sz="21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7923" indent="-216137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514441" indent="-29473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91281" indent="-17505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43684" indent="-146473" algn="l" defTabSz="10074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441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883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324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766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2207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649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1090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532" algn="l" defTabSz="102888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Изображение 15"/>
          <p:cNvPicPr>
            <a:picLocks noChangeAspect="1"/>
          </p:cNvPicPr>
          <p:nvPr/>
        </p:nvPicPr>
        <p:blipFill rotWithShape="1">
          <a:blip r:embed="rId2"/>
          <a:srcRect t="37375" r="13961"/>
          <a:stretch/>
        </p:blipFill>
        <p:spPr>
          <a:xfrm>
            <a:off x="2203582" y="0"/>
            <a:ext cx="8489818" cy="624992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62557" y="4768051"/>
            <a:ext cx="9824380" cy="16287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3328" b="1" dirty="0">
                <a:solidFill>
                  <a:srgbClr val="6E13A0"/>
                </a:solidFill>
                <a:latin typeface="Geometria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r>
              <a:rPr lang="ru-RU" sz="3328" dirty="0">
                <a:solidFill>
                  <a:srgbClr val="6E13A0"/>
                </a:solidFill>
              </a:rPr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91683" y="6588310"/>
            <a:ext cx="9766129" cy="69576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ru-RU" sz="1307" dirty="0">
                <a:solidFill>
                  <a:srgbClr val="DB731F"/>
                </a:solidFill>
                <a:latin typeface="Geometria"/>
                <a:cs typeface="Geometria"/>
              </a:rPr>
              <a:t>В СООТВЕТСТВИИ С ПОСТАНОВЛЕНИЕМ ПРАВИТЕЛЬСТВА РФ ОТ 17 НОЯБРЯ 2015 Г. № 1239</a:t>
            </a:r>
          </a:p>
          <a:p>
            <a:r>
              <a:rPr lang="ru-RU" sz="1307" dirty="0">
                <a:solidFill>
                  <a:srgbClr val="DB731F"/>
                </a:solidFill>
                <a:latin typeface="Geometria"/>
                <a:cs typeface="Geometria"/>
              </a:rPr>
              <a:t>«ОБ УТВЕРЖДЕНИИ ПРАВИЛ ВЫЯВЛЕНИЯ ДЕТЕЙ, ПРОЯВИВШИХ ВЫДАЮЩИЕСЯ СПОСОБНОСТИ, СОПРОВОЖДЕНИЯ И МОНИТОРИНГА ИХ ДАЛЬНЕЙШЕГО РАЗВИТИЯ»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30942" y="368537"/>
            <a:ext cx="30636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dirty="0">
                <a:solidFill>
                  <a:srgbClr val="DB731F"/>
                </a:solidFill>
                <a:latin typeface="Geometria"/>
                <a:cs typeface="Geometria"/>
              </a:rPr>
              <a:t>Образовательный </a:t>
            </a:r>
            <a:r>
              <a:rPr lang="ru-RU" sz="1800" dirty="0" smtClean="0">
                <a:solidFill>
                  <a:srgbClr val="DB731F"/>
                </a:solidFill>
                <a:latin typeface="Geometria"/>
                <a:cs typeface="Geometria"/>
              </a:rPr>
              <a:t>Фонд </a:t>
            </a:r>
            <a:endParaRPr lang="ru-RU" sz="1800" dirty="0">
              <a:solidFill>
                <a:srgbClr val="DB731F"/>
              </a:solidFill>
              <a:latin typeface="Geometria"/>
              <a:cs typeface="Geometria"/>
            </a:endParaRPr>
          </a:p>
          <a:p>
            <a:r>
              <a:rPr lang="ru-RU" sz="1800" dirty="0">
                <a:solidFill>
                  <a:srgbClr val="DB731F"/>
                </a:solidFill>
                <a:latin typeface="Geometria"/>
                <a:cs typeface="Geometria"/>
              </a:rPr>
              <a:t>«Талант и успех»</a:t>
            </a:r>
          </a:p>
        </p:txBody>
      </p:sp>
    </p:spTree>
    <p:extLst>
      <p:ext uri="{BB962C8B-B14F-4D97-AF65-F5344CB8AC3E}">
        <p14:creationId xmlns:p14="http://schemas.microsoft.com/office/powerpoint/2010/main" val="2043328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30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38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331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62397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103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181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375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553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1117" y="700690"/>
            <a:ext cx="10300419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2000" b="1" dirty="0" smtClean="0">
                <a:solidFill>
                  <a:srgbClr val="5991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metria" panose="020B0503020204020204" pitchFamily="34" charset="-52"/>
                <a:cs typeface="Geometria"/>
              </a:rPr>
              <a:t>ПЕРСПЕКТИВЫ РАЗВИТИЯ</a:t>
            </a:r>
            <a:endParaRPr lang="ru-RU" sz="20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91116" y="1149569"/>
            <a:ext cx="10300419" cy="6332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</a:pPr>
            <a:r>
              <a:rPr lang="ru-RU" sz="1400" b="1" dirty="0">
                <a:solidFill>
                  <a:srgbClr val="FF671F"/>
                </a:solidFill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Развитие </a:t>
            </a:r>
            <a:r>
              <a:rPr lang="ru-RU" sz="1400" b="1" dirty="0" smtClean="0">
                <a:solidFill>
                  <a:srgbClr val="FF671F"/>
                </a:solidFill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государственного информационного ресурса о детях, проявивших выдающиеся способности, как </a:t>
            </a:r>
            <a:r>
              <a:rPr lang="ru-RU" sz="1400" b="1" dirty="0">
                <a:solidFill>
                  <a:srgbClr val="FF671F"/>
                </a:solidFill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латформы: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350" b="1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о формированию общенационального реестра мероприятий</a:t>
            </a:r>
            <a:r>
              <a:rPr lang="ru-RU" sz="135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, включающего сведения и результаты всех (удовлетворяющих требованиям) проводимых конкурсных мероприятиях в сфере образования и науки, искусства, спорта, профессионального мастерства, общественно-значимой и социальной деятельности (с уровня отдельной организации до международного уровня), результаты которого значимы и признаны для формирования портфолио;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350" b="1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о формированию охраняемого государством общенационального ресурса сводных электронных портфолио </a:t>
            </a:r>
            <a:r>
              <a:rPr lang="ru-RU" sz="135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одаренных детей для их дальнейшего индивидуального сопровождения, в том числе для:</a:t>
            </a:r>
          </a:p>
          <a:p>
            <a:pPr marL="26670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</a:pPr>
            <a:r>
              <a:rPr lang="ru-RU" sz="135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оступления в образовательные организации, включая целевой прием и целевую подготовку по программам высшего и среднего профессионального образования, прохождение практик;</a:t>
            </a:r>
          </a:p>
          <a:p>
            <a:pPr marL="26670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</a:pPr>
            <a:r>
              <a:rPr lang="ru-RU" sz="135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формирования реестра школьников, студентов, молодых специалистов, обладающих набором ключевых образовательных и социальных маркеров, позволяющих оценить потенциал развития важных для формирования цифровой экономики навыков;</a:t>
            </a:r>
          </a:p>
          <a:p>
            <a:pPr marL="26670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</a:pPr>
            <a:r>
              <a:rPr lang="ru-RU" sz="135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стажировок, трудоустройства в соответствии с потребностями российского рынка труда в кадрах разной квалификации; 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350" b="1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являющейся основой для принятия государственных решений и консолидации мер поддержки талантливой молодежи</a:t>
            </a:r>
            <a:r>
              <a:rPr lang="ru-RU" sz="135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 (государственные программы поддержки, корпоративные программы поддержки со стороны бизнеса, научных институтов, образовательных организаций и др.), включая заключение ранних «умных контрактов» с будущими работодателями по индивидуальному развитию наиболее перспективных для российского рынка высоких технологий студентов и молодых специалистов (договор индивидуального сопровождения после третьего курса с обязательной оценкой работодателем итоговой квалификационной работы);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350" b="1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обеспечивающей функционирование сети региональных центров по выявлению и развитию одаренных детей</a:t>
            </a:r>
            <a:r>
              <a:rPr lang="ru-RU" sz="135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350" b="1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являющейся основой для всех активностей талантливой молодежи и сервисов цифровой экономики для талантливой молодежи</a:t>
            </a:r>
            <a:r>
              <a:rPr lang="ru-RU" sz="135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, в том числе для заключения «умных контрактов» с партнёрами по развитию молодёжных </a:t>
            </a:r>
            <a:r>
              <a:rPr lang="ru-RU" sz="1350" dirty="0" err="1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стартапов</a:t>
            </a:r>
            <a:r>
              <a:rPr lang="ru-RU" sz="135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 в областях, связанных с возможными ответами на большие вызовы и развитие цифровой экономики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</p:spTree>
    <p:extLst>
      <p:ext uri="{BB962C8B-B14F-4D97-AF65-F5344CB8AC3E}">
        <p14:creationId xmlns:p14="http://schemas.microsoft.com/office/powerpoint/2010/main" val="658806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20973" y="1149755"/>
            <a:ext cx="74505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6"/>
                </a:solidFill>
                <a:latin typeface="Geometria" panose="020B0503020204020204" pitchFamily="34" charset="-52"/>
                <a:cs typeface="PT Serif"/>
              </a:rPr>
              <a:t>Нормативные документы:</a:t>
            </a:r>
            <a:endParaRPr lang="ru-RU" sz="1600" b="1" dirty="0">
              <a:solidFill>
                <a:schemeClr val="accent6"/>
              </a:solidFill>
              <a:latin typeface="Geometria" panose="020B0503020204020204" pitchFamily="34" charset="-52"/>
              <a:cs typeface="PT Serif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91117" y="1619297"/>
            <a:ext cx="10300419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остановление Правительства Российской Федерации от 17 ноября 2015 г. № 1239 «Об утверждении Правил выявления детей, проявивших выдающиеся способности, сопровождения и мониторинга их дальнейшего развития»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риказ Минобрнауки России от 18 апреля 2016 г. № 424 «Об утверждении Порядка формирования и ведения государственного информационного ресурса о детях, проявивших выдающиеся способности»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еречень мероприятий:</a:t>
            </a:r>
          </a:p>
          <a:p>
            <a:pPr marL="627063" indent="-360363" algn="just">
              <a:spcBef>
                <a:spcPts val="600"/>
              </a:spcBef>
              <a:spcAft>
                <a:spcPts val="600"/>
              </a:spcAft>
              <a:buClr>
                <a:srgbClr val="FF671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риказ Минобрнауки России от 27 ноября 2015 г. № 1384 «Об утверждении перечней олимпиад и иных интеллектуальных и (или) творческих конкурсов, мероприятий, направленных на развитие интеллектуальных и творческих способностей, способностей к занятиям физической культурой и спортом, интереса к научной (научно-исследовательской), творческой, физкультурно-спортивной деятельности, а также на пропаганду научных знаний, творческих и спортивных достижений, на 2014/15 учебный год и на 2015/16 учебный год»</a:t>
            </a:r>
          </a:p>
          <a:p>
            <a:pPr marL="627063" indent="-360363" algn="just">
              <a:spcBef>
                <a:spcPts val="600"/>
              </a:spcBef>
              <a:spcAft>
                <a:spcPts val="600"/>
              </a:spcAft>
              <a:buClr>
                <a:srgbClr val="FF671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риказ Минобрнауки России от 31 мая 2016 г. № 645 «Об утверждении перечня </a:t>
            </a:r>
            <a:r>
              <a:rPr lang="ru-RU" sz="120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олимпиад и иных интеллектуальных и (или) творческих конкурсов, мероприятий, направленных на развитие интеллектуальных и творческих способностей, способностей к занятиям физической культурой и спортом, интереса к научной (научно-исследовательской), творческой, физкультурно-спортивной деятельности, а также на пропаганду научных знаний, творческих и спортивных достижений</a:t>
            </a:r>
            <a:r>
              <a:rPr lang="ru-RU" sz="12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, на 2016/17 учебный год»</a:t>
            </a:r>
          </a:p>
        </p:txBody>
      </p:sp>
      <p:sp>
        <p:nvSpPr>
          <p:cNvPr id="34" name="Заголовок 3"/>
          <p:cNvSpPr txBox="1">
            <a:spLocks/>
          </p:cNvSpPr>
          <p:nvPr/>
        </p:nvSpPr>
        <p:spPr>
          <a:xfrm>
            <a:off x="191117" y="6447509"/>
            <a:ext cx="2302701" cy="784631"/>
          </a:xfrm>
          <a:prstGeom prst="rect">
            <a:avLst/>
          </a:prstGeom>
        </p:spPr>
        <p:txBody>
          <a:bodyPr vert="horz" lIns="86365" tIns="43183" rIns="86365" bIns="43183" rtlCol="0" anchor="t">
            <a:noAutofit/>
          </a:bodyPr>
          <a:lstStyle>
            <a:lvl1pPr algn="ctr" defTabSz="431825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 smtClean="0">
                <a:solidFill>
                  <a:schemeClr val="accent6"/>
                </a:solidFill>
                <a:latin typeface="Geometria" panose="020B0503020204020204" pitchFamily="34" charset="-52"/>
              </a:rPr>
              <a:t>Оператор:</a:t>
            </a:r>
          </a:p>
          <a:p>
            <a:r>
              <a:rPr lang="ru-RU" sz="1400" dirty="0" smtClean="0">
                <a:latin typeface="Geometria" panose="020B0503020204020204" pitchFamily="34" charset="-52"/>
              </a:rPr>
              <a:t>Образовательный Фонд «Талант и успех»</a:t>
            </a:r>
            <a:endParaRPr lang="ru-RU" sz="1100" dirty="0">
              <a:latin typeface="Geometria" panose="020B0503020204020204" pitchFamily="34" charset="-52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709949" y="6455370"/>
            <a:ext cx="45855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6"/>
                </a:solidFill>
                <a:latin typeface="Geometria" panose="020B0503020204020204" pitchFamily="34" charset="-52"/>
                <a:cs typeface="PT Serif"/>
              </a:rPr>
              <a:t>Функции </a:t>
            </a:r>
            <a:r>
              <a:rPr lang="ru-RU" sz="1400" b="1" dirty="0" smtClean="0">
                <a:solidFill>
                  <a:schemeClr val="accent6"/>
                </a:solidFill>
                <a:latin typeface="Geometria" panose="020B0503020204020204" pitchFamily="34" charset="-52"/>
                <a:cs typeface="PT Serif"/>
              </a:rPr>
              <a:t>оператора</a:t>
            </a:r>
            <a:r>
              <a:rPr lang="ru-RU" sz="1400" dirty="0" smtClean="0">
                <a:solidFill>
                  <a:schemeClr val="accent6"/>
                </a:solidFill>
                <a:latin typeface="Geometria" panose="020B0503020204020204" pitchFamily="34" charset="-52"/>
                <a:cs typeface="PT Serif"/>
              </a:rPr>
              <a:t>: </a:t>
            </a:r>
          </a:p>
          <a:p>
            <a:pPr algn="ctr"/>
            <a:r>
              <a:rPr lang="ru-RU" sz="1400" dirty="0" smtClean="0">
                <a:latin typeface="Geometria" panose="020B0503020204020204" pitchFamily="34" charset="-52"/>
                <a:cs typeface="PT Serif"/>
              </a:rPr>
              <a:t>формирование </a:t>
            </a:r>
            <a:r>
              <a:rPr lang="ru-RU" sz="1400" dirty="0">
                <a:latin typeface="Geometria" panose="020B0503020204020204" pitchFamily="34" charset="-52"/>
                <a:cs typeface="PT Serif"/>
              </a:rPr>
              <a:t>и </a:t>
            </a:r>
            <a:r>
              <a:rPr lang="ru-RU" sz="1400" dirty="0" smtClean="0">
                <a:latin typeface="Geometria" panose="020B0503020204020204" pitchFamily="34" charset="-52"/>
                <a:cs typeface="PT Serif"/>
              </a:rPr>
              <a:t>ведение </a:t>
            </a:r>
            <a:r>
              <a:rPr lang="ru-RU" sz="1400" dirty="0">
                <a:latin typeface="Geometria" panose="020B0503020204020204" pitchFamily="34" charset="-52"/>
                <a:cs typeface="PT Serif"/>
              </a:rPr>
              <a:t>государственного информационного ресурса о детях, проявивших выдающиеся способности</a:t>
            </a:r>
            <a:endParaRPr lang="ru-RU" sz="1400" dirty="0">
              <a:latin typeface="Geometria" panose="020B0503020204020204" pitchFamily="34" charset="-52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7547962" y="6447863"/>
            <a:ext cx="289606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6"/>
                </a:solidFill>
                <a:latin typeface="Geometria" panose="020B0503020204020204" pitchFamily="34" charset="-52"/>
                <a:cs typeface="PT Serif"/>
              </a:rPr>
              <a:t>Ссылка</a:t>
            </a:r>
            <a:r>
              <a:rPr lang="ru-RU" sz="1400" dirty="0" smtClean="0">
                <a:solidFill>
                  <a:schemeClr val="accent6"/>
                </a:solidFill>
                <a:latin typeface="Geometria" panose="020B0503020204020204" pitchFamily="34" charset="-52"/>
                <a:cs typeface="PT Serif"/>
              </a:rPr>
              <a:t>: </a:t>
            </a:r>
            <a:endParaRPr lang="ru-RU" sz="1400" dirty="0">
              <a:solidFill>
                <a:schemeClr val="accent6"/>
              </a:solidFill>
              <a:latin typeface="Geometria" panose="020B0503020204020204" pitchFamily="34" charset="-52"/>
              <a:cs typeface="PT Serif"/>
            </a:endParaRPr>
          </a:p>
          <a:p>
            <a:pPr algn="ctr"/>
            <a:r>
              <a:rPr lang="en-US" sz="1400" dirty="0" smtClean="0">
                <a:latin typeface="Geometria" panose="020B0503020204020204" pitchFamily="34" charset="-52"/>
              </a:rPr>
              <a:t>https</a:t>
            </a:r>
            <a:r>
              <a:rPr lang="en-US" sz="1400" dirty="0">
                <a:latin typeface="Geometria" panose="020B0503020204020204" pitchFamily="34" charset="-52"/>
              </a:rPr>
              <a:t>://register.talantiuspeh.ru/ords/f?p=101</a:t>
            </a:r>
            <a:endParaRPr lang="ru-RU" sz="1400" dirty="0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604699" y="6159584"/>
            <a:ext cx="9484003" cy="0"/>
          </a:xfrm>
          <a:prstGeom prst="line">
            <a:avLst/>
          </a:prstGeom>
          <a:ln>
            <a:solidFill>
              <a:srgbClr val="DB731F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769197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16102" y="1115430"/>
            <a:ext cx="10275434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</a:pPr>
            <a:r>
              <a:rPr lang="ru-RU" sz="1600" dirty="0">
                <a:solidFill>
                  <a:schemeClr val="accent6"/>
                </a:solidFill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Задачи </a:t>
            </a:r>
            <a:r>
              <a:rPr lang="ru-RU" sz="1600" dirty="0" smtClean="0">
                <a:solidFill>
                  <a:schemeClr val="accent6"/>
                </a:solidFill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ресурса:</a:t>
            </a:r>
            <a:endParaRPr lang="ru-RU" sz="1600" dirty="0">
              <a:latin typeface="Geometria" panose="020B0503020204020204" pitchFamily="34" charset="-52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 Учет сведений об одаренных детях, об их индивидуальных достижениях, об образовательных организациях, в которых они получают образование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 Учет сведений об олимпиадах и иных конкурсных мероприятиях, спортивных соревнованиях всех уровней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 Обеспечение формирования аналитических витрин и </a:t>
            </a:r>
            <a:r>
              <a:rPr lang="ru-RU" sz="16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отчетов</a:t>
            </a:r>
            <a:endParaRPr lang="ru-RU" sz="1600" dirty="0">
              <a:latin typeface="Geometria" panose="020B0503020204020204" pitchFamily="34" charset="-52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16102" y="3273641"/>
            <a:ext cx="5153920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</a:pPr>
            <a:r>
              <a:rPr lang="ru-RU" sz="1600" dirty="0" smtClean="0">
                <a:solidFill>
                  <a:schemeClr val="accent6"/>
                </a:solidFill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Группы пользователей:</a:t>
            </a:r>
            <a:endParaRPr lang="ru-RU" sz="1600" dirty="0">
              <a:latin typeface="Geometria" panose="020B0503020204020204" pitchFamily="34" charset="-52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Организаторы </a:t>
            </a:r>
            <a:r>
              <a:rPr lang="ru-RU" sz="1600" b="1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мероприятий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Федеральные </a:t>
            </a:r>
            <a:r>
              <a:rPr lang="ru-RU" sz="1600" b="1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государственные органы</a:t>
            </a:r>
            <a:r>
              <a:rPr lang="ru-RU" sz="160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, органы государственной власти субъектов РФ, органы местного самоуправления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Образовательные </a:t>
            </a:r>
            <a:r>
              <a:rPr lang="ru-RU" sz="160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организации, в которых одаренные дети получают </a:t>
            </a:r>
            <a:r>
              <a:rPr lang="ru-RU" sz="16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образование</a:t>
            </a:r>
            <a:endParaRPr lang="ru-RU" sz="1600" dirty="0">
              <a:latin typeface="Geometria" panose="020B0503020204020204" pitchFamily="34" charset="-52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91117" y="6036773"/>
            <a:ext cx="5178906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</a:pPr>
            <a:r>
              <a:rPr lang="ru-RU" sz="1600" dirty="0">
                <a:solidFill>
                  <a:schemeClr val="accent6"/>
                </a:solidFill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Сведения ресурса - основа для различных форм государственной поддержки талантливой </a:t>
            </a:r>
            <a:r>
              <a:rPr lang="ru-RU" sz="1600" dirty="0" smtClean="0">
                <a:solidFill>
                  <a:schemeClr val="accent6"/>
                </a:solidFill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молодежи:</a:t>
            </a:r>
            <a:endParaRPr lang="ru-RU" sz="1600" dirty="0">
              <a:solidFill>
                <a:schemeClr val="accent6"/>
              </a:solidFill>
              <a:latin typeface="Geometria" panose="020B0503020204020204" pitchFamily="34" charset="-52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Гранты Президента Российской Федерации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l="22324" t="17286" r="22604" b="4553"/>
          <a:stretch/>
        </p:blipFill>
        <p:spPr>
          <a:xfrm>
            <a:off x="5732028" y="3794441"/>
            <a:ext cx="4759508" cy="3600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64813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934393"/>
              </p:ext>
            </p:extLst>
          </p:nvPr>
        </p:nvGraphicFramePr>
        <p:xfrm>
          <a:off x="7125999" y="2316897"/>
          <a:ext cx="3180811" cy="299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91117" y="1595929"/>
            <a:ext cx="2613263" cy="3363377"/>
            <a:chOff x="316162" y="3722011"/>
            <a:chExt cx="2613263" cy="3363377"/>
          </a:xfrm>
        </p:grpSpPr>
        <p:graphicFrame>
          <p:nvGraphicFramePr>
            <p:cNvPr id="33" name="Диаграмма 32"/>
            <p:cNvGraphicFramePr>
              <a:graphicFrameLocks noChangeAspect="1"/>
            </p:cNvGraphicFramePr>
            <p:nvPr>
              <p:extLst/>
            </p:nvPr>
          </p:nvGraphicFramePr>
          <p:xfrm>
            <a:off x="587475" y="4447123"/>
            <a:ext cx="2335840" cy="263826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38" name="Прямоугольник 37"/>
            <p:cNvSpPr/>
            <p:nvPr/>
          </p:nvSpPr>
          <p:spPr>
            <a:xfrm>
              <a:off x="316162" y="3722011"/>
              <a:ext cx="2613263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 algn="just">
                <a:spcBef>
                  <a:spcPts val="300"/>
                </a:spcBef>
                <a:spcAft>
                  <a:spcPts val="300"/>
                </a:spcAft>
                <a:buClr>
                  <a:srgbClr val="5991A7"/>
                </a:buClr>
                <a:buSzPct val="150000"/>
                <a:buFont typeface="Arial" panose="020B0604020202020204" pitchFamily="34" charset="0"/>
                <a:buChar char="•"/>
              </a:pPr>
              <a:r>
                <a:rPr lang="ru-RU" sz="1600" dirty="0" smtClean="0">
                  <a:latin typeface="Geometria" panose="020B0503020204020204" pitchFamily="34" charset="-52"/>
                  <a:ea typeface="Calibri" panose="020F0502020204030204" pitchFamily="34" charset="0"/>
                  <a:cs typeface="Arial" panose="020B0604020202020204" pitchFamily="34" charset="0"/>
                </a:rPr>
                <a:t>Количество мероприятий, ед.</a:t>
              </a:r>
              <a:endParaRPr lang="ru-RU" sz="1600" u="sng" dirty="0">
                <a:solidFill>
                  <a:srgbClr val="FF671F"/>
                </a:solidFill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6920261" y="1583732"/>
            <a:ext cx="30570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Количество результатов, ед.</a:t>
            </a:r>
            <a:endParaRPr lang="ru-RU" sz="1600" u="sng" dirty="0">
              <a:solidFill>
                <a:srgbClr val="FF671F"/>
              </a:solidFill>
              <a:latin typeface="Geometria" panose="020B0503020204020204" pitchFamily="34" charset="-52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613836" y="3370511"/>
            <a:ext cx="30570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5991A7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Доля результатов по направлениям, %</a:t>
            </a:r>
            <a:endParaRPr lang="ru-RU" sz="1600" u="sng" dirty="0">
              <a:solidFill>
                <a:srgbClr val="FF671F"/>
              </a:solidFill>
              <a:latin typeface="Geometria" panose="020B0503020204020204" pitchFamily="34" charset="-52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91117" y="4941015"/>
            <a:ext cx="272438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rgbClr val="5991A7"/>
              </a:buClr>
              <a:buSzPct val="150000"/>
            </a:pPr>
            <a:r>
              <a:rPr lang="ru-RU" sz="1400" dirty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Перечень </a:t>
            </a:r>
            <a:r>
              <a:rPr lang="ru-RU" sz="1400" dirty="0" smtClean="0">
                <a:latin typeface="Geometria" panose="020B0503020204020204" pitchFamily="34" charset="-52"/>
                <a:ea typeface="Calibri" panose="020F0502020204030204" pitchFamily="34" charset="0"/>
                <a:cs typeface="Arial" panose="020B0604020202020204" pitchFamily="34" charset="0"/>
              </a:rPr>
              <a:t>мероприятий утверждается приказом Минобрнауки России</a:t>
            </a:r>
            <a:endParaRPr lang="ru-RU" sz="1400" dirty="0">
              <a:latin typeface="Geometria" panose="020B0503020204020204" pitchFamily="34" charset="-52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169989" y="5416719"/>
            <a:ext cx="33215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Geometria" panose="020B0503020204020204" pitchFamily="34" charset="-52"/>
              </a:rPr>
              <a:t>В </a:t>
            </a:r>
            <a:r>
              <a:rPr lang="ru-RU" sz="1400" dirty="0">
                <a:latin typeface="Geometria" panose="020B0503020204020204" pitchFamily="34" charset="-52"/>
              </a:rPr>
              <a:t>настоящее время завершается загрузка в систему сведений о результатах мероприятий </a:t>
            </a:r>
            <a:endParaRPr lang="ru-RU" sz="1400" dirty="0" smtClean="0">
              <a:latin typeface="Geometria" panose="020B0503020204020204" pitchFamily="34" charset="-52"/>
            </a:endParaRPr>
          </a:p>
          <a:p>
            <a:pPr algn="ctr"/>
            <a:r>
              <a:rPr lang="ru-RU" sz="1400" dirty="0" smtClean="0">
                <a:latin typeface="Geometria" panose="020B0503020204020204" pitchFamily="34" charset="-52"/>
              </a:rPr>
              <a:t>2016/17 </a:t>
            </a:r>
            <a:r>
              <a:rPr lang="ru-RU" sz="1400" dirty="0">
                <a:latin typeface="Geometria" panose="020B0503020204020204" pitchFamily="34" charset="-52"/>
              </a:rPr>
              <a:t>учебного </a:t>
            </a:r>
            <a:r>
              <a:rPr lang="ru-RU" sz="1400" dirty="0" smtClean="0">
                <a:latin typeface="Geometria" panose="020B0503020204020204" pitchFamily="34" charset="-52"/>
              </a:rPr>
              <a:t>года</a:t>
            </a:r>
            <a:endParaRPr lang="ru-RU" sz="1400" dirty="0">
              <a:latin typeface="Geometria" panose="020B0503020204020204" pitchFamily="34" charset="-52"/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3531888" y="1534285"/>
            <a:ext cx="2489800" cy="1717081"/>
            <a:chOff x="142993" y="5845769"/>
            <a:chExt cx="2489800" cy="1717081"/>
          </a:xfrm>
        </p:grpSpPr>
        <p:sp>
          <p:nvSpPr>
            <p:cNvPr id="43" name="TextBox 42"/>
            <p:cNvSpPr txBox="1"/>
            <p:nvPr/>
          </p:nvSpPr>
          <p:spPr>
            <a:xfrm>
              <a:off x="449767" y="5942020"/>
              <a:ext cx="218302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metria" panose="020B0503020204020204" pitchFamily="34" charset="-52"/>
                  <a:cs typeface="PT Serif"/>
                </a:rPr>
                <a:t>НАУКА</a:t>
              </a:r>
              <a:endParaRPr lang="ru-RU" sz="240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metria" panose="020B0503020204020204" pitchFamily="34" charset="-52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49768" y="6465297"/>
              <a:ext cx="21830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rgbClr val="DB731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metria" panose="020B0503020204020204" pitchFamily="34" charset="-52"/>
                  <a:cs typeface="PT Serif"/>
                </a:rPr>
                <a:t>ИСКУССТВО</a:t>
              </a:r>
              <a:endParaRPr lang="ru-RU" sz="2400" dirty="0">
                <a:solidFill>
                  <a:srgbClr val="DB731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metria" panose="020B0503020204020204" pitchFamily="34" charset="-52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449767" y="7009279"/>
              <a:ext cx="218302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rgbClr val="7916B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metria" panose="020B0503020204020204" pitchFamily="34" charset="-52"/>
                  <a:cs typeface="PT Serif"/>
                </a:rPr>
                <a:t>СПОРТ</a:t>
              </a:r>
              <a:endParaRPr lang="ru-RU" sz="2400" dirty="0">
                <a:solidFill>
                  <a:srgbClr val="7916B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metria" panose="020B0503020204020204" pitchFamily="34" charset="-52"/>
              </a:endParaRPr>
            </a:p>
          </p:txBody>
        </p:sp>
        <p:sp>
          <p:nvSpPr>
            <p:cNvPr id="46" name="Заголовок 3"/>
            <p:cNvSpPr txBox="1">
              <a:spLocks/>
            </p:cNvSpPr>
            <p:nvPr/>
          </p:nvSpPr>
          <p:spPr>
            <a:xfrm rot="16200000">
              <a:off x="-544161" y="6532923"/>
              <a:ext cx="1717081" cy="342774"/>
            </a:xfrm>
            <a:prstGeom prst="rect">
              <a:avLst/>
            </a:prstGeom>
          </p:spPr>
          <p:txBody>
            <a:bodyPr vert="horz" lIns="86365" tIns="43183" rIns="86365" bIns="43183" rtlCol="0" anchor="ctr">
              <a:normAutofit/>
            </a:bodyPr>
            <a:lstStyle>
              <a:lvl1pPr algn="ctr" defTabSz="431825" rtl="0" eaLnBrk="1" latinLnBrk="0" hangingPunct="1">
                <a:spcBef>
                  <a:spcPct val="0"/>
                </a:spcBef>
                <a:buNone/>
                <a:defRPr sz="42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600" dirty="0" smtClean="0">
                  <a:solidFill>
                    <a:srgbClr val="5991A7"/>
                  </a:solidFill>
                  <a:latin typeface="Geometria" panose="020B0503020204020204" pitchFamily="34" charset="-52"/>
                </a:rPr>
                <a:t>Направления:</a:t>
              </a:r>
              <a:endParaRPr lang="ru-RU" sz="1600" dirty="0">
                <a:solidFill>
                  <a:srgbClr val="5991A7"/>
                </a:solidFill>
                <a:latin typeface="Geometria" panose="020B0503020204020204" pitchFamily="34" charset="-52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9330808" y="2697795"/>
            <a:ext cx="1130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5991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metria" panose="020B0503020204020204"/>
              </a:rPr>
              <a:t>20233</a:t>
            </a:r>
            <a:endParaRPr lang="ru-RU" sz="2400" b="1" dirty="0">
              <a:solidFill>
                <a:srgbClr val="5991A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metria" panose="020B0503020204020204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graphicFrame>
        <p:nvGraphicFramePr>
          <p:cNvPr id="23" name="Диаграмма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9957294"/>
              </p:ext>
            </p:extLst>
          </p:nvPr>
        </p:nvGraphicFramePr>
        <p:xfrm>
          <a:off x="3175448" y="3979466"/>
          <a:ext cx="3933825" cy="3400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040805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34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494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602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024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Изображение 3" descr="Logo_Sirius_RGB_0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3" t="31996" r="17924" b="33144"/>
          <a:stretch>
            <a:fillRect/>
          </a:stretch>
        </p:blipFill>
        <p:spPr bwMode="auto">
          <a:xfrm>
            <a:off x="458858" y="194324"/>
            <a:ext cx="1143181" cy="44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0693400" cy="168686"/>
          </a:xfrm>
          <a:prstGeom prst="rect">
            <a:avLst/>
          </a:prstGeom>
          <a:solidFill>
            <a:srgbClr val="CA6B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9">
              <a:latin typeface="Geometria" panose="020B0503020204020204" pitchFamily="34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9446" y="194324"/>
            <a:ext cx="691450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5991A7"/>
                </a:solidFill>
                <a:latin typeface="Geometria" panose="020B0503020204020204" pitchFamily="34" charset="-52"/>
                <a:cs typeface="Geometria"/>
              </a:rPr>
              <a:t>ГОСУДАРСТВЕННЫЙ ИНФОРМАЦИОННЫЙ РЕСУРС О ДЕТЯХ, ПРОЯВИВШИХ ВЫДАЮЩИЕСЯ СПОСОБНОСТИ</a:t>
            </a:r>
            <a:endParaRPr lang="ru-RU" sz="1600" dirty="0">
              <a:solidFill>
                <a:srgbClr val="5991A7"/>
              </a:solidFill>
              <a:latin typeface="Geometria" panose="020B0503020204020204" pitchFamily="34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30936" y="266203"/>
            <a:ext cx="2162464" cy="235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0" i="0" u="none" strike="noStrike" baseline="30000" dirty="0" smtClean="0">
                <a:solidFill>
                  <a:srgbClr val="D68049"/>
                </a:solidFill>
                <a:latin typeface="Geometria" panose="020B0503020204020204" pitchFamily="34" charset="-52"/>
              </a:rPr>
              <a:t>ФОНД «ТАЛАНТ И УСПЕХ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5296"/>
            <a:ext cx="10693400" cy="57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88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a6dd16c062bb50b62b21fd44bea92f3504b4c8b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Russian">
  <a:themeElements>
    <a:clrScheme name="New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FFC72C"/>
      </a:accent2>
      <a:accent3>
        <a:srgbClr val="FF671F"/>
      </a:accent3>
      <a:accent4>
        <a:srgbClr val="5F2167"/>
      </a:accent4>
      <a:accent5>
        <a:srgbClr val="84329B"/>
      </a:accent5>
      <a:accent6>
        <a:srgbClr val="808080"/>
      </a:accent6>
      <a:hlink>
        <a:srgbClr val="FF671F"/>
      </a:hlink>
      <a:folHlink>
        <a:srgbClr val="5F216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D76394"/>
        </a:accent4>
        <a:accent5>
          <a:srgbClr val="FF6600"/>
        </a:accent5>
        <a:accent6>
          <a:srgbClr val="808080"/>
        </a:accent6>
        <a:hlink>
          <a:srgbClr val="FD7624"/>
        </a:hlink>
        <a:folHlink>
          <a:srgbClr val="D763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808080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BD98DD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4D02"/>
        </a:accent3>
        <a:accent4>
          <a:srgbClr val="6B1787"/>
        </a:accent4>
        <a:accent5>
          <a:srgbClr val="BD98DD"/>
        </a:accent5>
        <a:accent6>
          <a:srgbClr val="808080"/>
        </a:accent6>
        <a:hlink>
          <a:srgbClr val="FD4D02"/>
        </a:hlink>
        <a:folHlink>
          <a:srgbClr val="6B178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2C2A29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84329B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2" id="{3A876E31-04A1-4819-9714-40626970B21B}" vid="{8258C73D-CE0C-4D94-BDB2-8ABF019D6A0A}"/>
    </a:ext>
  </a:extLst>
</a:theme>
</file>

<file path=ppt/theme/theme3.xml><?xml version="1.0" encoding="utf-8"?>
<a:theme xmlns:a="http://schemas.openxmlformats.org/drawingml/2006/main" name="1_Firm Format - Russian">
  <a:themeElements>
    <a:clrScheme name="New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FFC72C"/>
      </a:accent2>
      <a:accent3>
        <a:srgbClr val="FF671F"/>
      </a:accent3>
      <a:accent4>
        <a:srgbClr val="5F2167"/>
      </a:accent4>
      <a:accent5>
        <a:srgbClr val="84329B"/>
      </a:accent5>
      <a:accent6>
        <a:srgbClr val="808080"/>
      </a:accent6>
      <a:hlink>
        <a:srgbClr val="FF671F"/>
      </a:hlink>
      <a:folHlink>
        <a:srgbClr val="5F216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D76394"/>
        </a:accent4>
        <a:accent5>
          <a:srgbClr val="FF6600"/>
        </a:accent5>
        <a:accent6>
          <a:srgbClr val="808080"/>
        </a:accent6>
        <a:hlink>
          <a:srgbClr val="FD7624"/>
        </a:hlink>
        <a:folHlink>
          <a:srgbClr val="D763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808080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BD98DD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4D02"/>
        </a:accent3>
        <a:accent4>
          <a:srgbClr val="6B1787"/>
        </a:accent4>
        <a:accent5>
          <a:srgbClr val="BD98DD"/>
        </a:accent5>
        <a:accent6>
          <a:srgbClr val="808080"/>
        </a:accent6>
        <a:hlink>
          <a:srgbClr val="FD4D02"/>
        </a:hlink>
        <a:folHlink>
          <a:srgbClr val="6B178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2C2A29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84329B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2" id="{3A876E31-04A1-4819-9714-40626970B21B}" vid="{8258C73D-CE0C-4D94-BDB2-8ABF019D6A0A}"/>
    </a:ext>
  </a:extLst>
</a:theme>
</file>

<file path=ppt/theme/theme4.xml><?xml version="1.0" encoding="utf-8"?>
<a:theme xmlns:a="http://schemas.openxmlformats.org/drawingml/2006/main" name="2_Firm Format - Russian">
  <a:themeElements>
    <a:clrScheme name="New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FFC72C"/>
      </a:accent2>
      <a:accent3>
        <a:srgbClr val="FF671F"/>
      </a:accent3>
      <a:accent4>
        <a:srgbClr val="5F2167"/>
      </a:accent4>
      <a:accent5>
        <a:srgbClr val="84329B"/>
      </a:accent5>
      <a:accent6>
        <a:srgbClr val="808080"/>
      </a:accent6>
      <a:hlink>
        <a:srgbClr val="FF671F"/>
      </a:hlink>
      <a:folHlink>
        <a:srgbClr val="5F216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D76394"/>
        </a:accent4>
        <a:accent5>
          <a:srgbClr val="FF6600"/>
        </a:accent5>
        <a:accent6>
          <a:srgbClr val="808080"/>
        </a:accent6>
        <a:hlink>
          <a:srgbClr val="FD7624"/>
        </a:hlink>
        <a:folHlink>
          <a:srgbClr val="D763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808080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BD98DD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4D02"/>
        </a:accent3>
        <a:accent4>
          <a:srgbClr val="6B1787"/>
        </a:accent4>
        <a:accent5>
          <a:srgbClr val="BD98DD"/>
        </a:accent5>
        <a:accent6>
          <a:srgbClr val="808080"/>
        </a:accent6>
        <a:hlink>
          <a:srgbClr val="FD4D02"/>
        </a:hlink>
        <a:folHlink>
          <a:srgbClr val="6B178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2C2A29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84329B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ириус.potx" id="{D2776311-8B3D-4AE1-8954-488D5280DCE8}" vid="{F6AEDC39-1959-4B11-BEC4-81BB00F2BB2F}"/>
    </a:ext>
  </a:extLst>
</a:theme>
</file>

<file path=ppt/theme/theme5.xml><?xml version="1.0" encoding="utf-8"?>
<a:theme xmlns:a="http://schemas.openxmlformats.org/drawingml/2006/main" name="3_Firm Format - Russian">
  <a:themeElements>
    <a:clrScheme name="New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FFC72C"/>
      </a:accent2>
      <a:accent3>
        <a:srgbClr val="FF671F"/>
      </a:accent3>
      <a:accent4>
        <a:srgbClr val="5F2167"/>
      </a:accent4>
      <a:accent5>
        <a:srgbClr val="84329B"/>
      </a:accent5>
      <a:accent6>
        <a:srgbClr val="808080"/>
      </a:accent6>
      <a:hlink>
        <a:srgbClr val="FF671F"/>
      </a:hlink>
      <a:folHlink>
        <a:srgbClr val="5F216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D76394"/>
        </a:accent4>
        <a:accent5>
          <a:srgbClr val="FF6600"/>
        </a:accent5>
        <a:accent6>
          <a:srgbClr val="808080"/>
        </a:accent6>
        <a:hlink>
          <a:srgbClr val="FD7624"/>
        </a:hlink>
        <a:folHlink>
          <a:srgbClr val="D763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808080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BD98DD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4D02"/>
        </a:accent3>
        <a:accent4>
          <a:srgbClr val="6B1787"/>
        </a:accent4>
        <a:accent5>
          <a:srgbClr val="BD98DD"/>
        </a:accent5>
        <a:accent6>
          <a:srgbClr val="808080"/>
        </a:accent6>
        <a:hlink>
          <a:srgbClr val="FD4D02"/>
        </a:hlink>
        <a:folHlink>
          <a:srgbClr val="6B178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2C2A29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84329B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2" id="{3A876E31-04A1-4819-9714-40626970B21B}" vid="{8258C73D-CE0C-4D94-BDB2-8ABF019D6A0A}"/>
    </a:ext>
  </a:extLst>
</a:theme>
</file>

<file path=ppt/theme/theme6.xml><?xml version="1.0" encoding="utf-8"?>
<a:theme xmlns:a="http://schemas.openxmlformats.org/drawingml/2006/main" name="4_Firm Format - Russian">
  <a:themeElements>
    <a:clrScheme name="New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FFC72C"/>
      </a:accent2>
      <a:accent3>
        <a:srgbClr val="FF671F"/>
      </a:accent3>
      <a:accent4>
        <a:srgbClr val="5F2167"/>
      </a:accent4>
      <a:accent5>
        <a:srgbClr val="84329B"/>
      </a:accent5>
      <a:accent6>
        <a:srgbClr val="808080"/>
      </a:accent6>
      <a:hlink>
        <a:srgbClr val="FF671F"/>
      </a:hlink>
      <a:folHlink>
        <a:srgbClr val="5F216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D76394"/>
        </a:accent4>
        <a:accent5>
          <a:srgbClr val="FF6600"/>
        </a:accent5>
        <a:accent6>
          <a:srgbClr val="808080"/>
        </a:accent6>
        <a:hlink>
          <a:srgbClr val="FD7624"/>
        </a:hlink>
        <a:folHlink>
          <a:srgbClr val="D763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808080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BD98DD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4D02"/>
        </a:accent3>
        <a:accent4>
          <a:srgbClr val="6B1787"/>
        </a:accent4>
        <a:accent5>
          <a:srgbClr val="BD98DD"/>
        </a:accent5>
        <a:accent6>
          <a:srgbClr val="808080"/>
        </a:accent6>
        <a:hlink>
          <a:srgbClr val="FD4D02"/>
        </a:hlink>
        <a:folHlink>
          <a:srgbClr val="6B178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2C2A29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84329B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2" id="{3A876E31-04A1-4819-9714-40626970B21B}" vid="{8258C73D-CE0C-4D94-BDB2-8ABF019D6A0A}"/>
    </a:ext>
  </a:extLst>
</a:theme>
</file>

<file path=ppt/theme/theme7.xml><?xml version="1.0" encoding="utf-8"?>
<a:theme xmlns:a="http://schemas.openxmlformats.org/drawingml/2006/main" name="5_Firm Format - Russian">
  <a:themeElements>
    <a:clrScheme name="New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FFC72C"/>
      </a:accent2>
      <a:accent3>
        <a:srgbClr val="FF671F"/>
      </a:accent3>
      <a:accent4>
        <a:srgbClr val="5F2167"/>
      </a:accent4>
      <a:accent5>
        <a:srgbClr val="84329B"/>
      </a:accent5>
      <a:accent6>
        <a:srgbClr val="808080"/>
      </a:accent6>
      <a:hlink>
        <a:srgbClr val="FF671F"/>
      </a:hlink>
      <a:folHlink>
        <a:srgbClr val="5F216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D76394"/>
        </a:accent4>
        <a:accent5>
          <a:srgbClr val="FF6600"/>
        </a:accent5>
        <a:accent6>
          <a:srgbClr val="808080"/>
        </a:accent6>
        <a:hlink>
          <a:srgbClr val="FD7624"/>
        </a:hlink>
        <a:folHlink>
          <a:srgbClr val="D763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808080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7624"/>
        </a:accent3>
        <a:accent4>
          <a:srgbClr val="551E64"/>
        </a:accent4>
        <a:accent5>
          <a:srgbClr val="FFC299"/>
        </a:accent5>
        <a:accent6>
          <a:srgbClr val="BD98DD"/>
        </a:accent6>
        <a:hlink>
          <a:srgbClr val="FD7624"/>
        </a:hlink>
        <a:folHlink>
          <a:srgbClr val="551E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509"/>
        </a:accent2>
        <a:accent3>
          <a:srgbClr val="FD4D02"/>
        </a:accent3>
        <a:accent4>
          <a:srgbClr val="6B1787"/>
        </a:accent4>
        <a:accent5>
          <a:srgbClr val="BD98DD"/>
        </a:accent5>
        <a:accent6>
          <a:srgbClr val="808080"/>
        </a:accent6>
        <a:hlink>
          <a:srgbClr val="FD4D02"/>
        </a:hlink>
        <a:folHlink>
          <a:srgbClr val="6B178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2C2A29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FFC72C"/>
        </a:accent2>
        <a:accent3>
          <a:srgbClr val="FF671F"/>
        </a:accent3>
        <a:accent4>
          <a:srgbClr val="5F2167"/>
        </a:accent4>
        <a:accent5>
          <a:srgbClr val="84329B"/>
        </a:accent5>
        <a:accent6>
          <a:srgbClr val="808080"/>
        </a:accent6>
        <a:hlink>
          <a:srgbClr val="FF671F"/>
        </a:hlink>
        <a:folHlink>
          <a:srgbClr val="5F21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2" id="{3A876E31-04A1-4819-9714-40626970B21B}" vid="{8258C73D-CE0C-4D94-BDB2-8ABF019D6A0A}"/>
    </a:ext>
  </a:extLst>
</a:theme>
</file>

<file path=ppt/theme/theme8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31</TotalTime>
  <Words>896</Words>
  <Application>Microsoft Office PowerPoint</Application>
  <PresentationFormat>Произвольный</PresentationFormat>
  <Paragraphs>95</Paragraphs>
  <Slides>17</Slides>
  <Notes>16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5" baseType="lpstr">
      <vt:lpstr>Office Theme</vt:lpstr>
      <vt:lpstr>Firm Format - Russian</vt:lpstr>
      <vt:lpstr>1_Firm Format - Russian</vt:lpstr>
      <vt:lpstr>2_Firm Format - Russian</vt:lpstr>
      <vt:lpstr>3_Firm Format - Russian</vt:lpstr>
      <vt:lpstr>4_Firm Format - Russian</vt:lpstr>
      <vt:lpstr>5_Firm Format - Russia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#СОЧИСИРИУС www.sochisirius.ru</dc:title>
  <dc:creator>Корзун Ульяна Анатольевна</dc:creator>
  <cp:lastModifiedBy>1</cp:lastModifiedBy>
  <cp:revision>384</cp:revision>
  <cp:lastPrinted>2017-08-07T14:29:45Z</cp:lastPrinted>
  <dcterms:created xsi:type="dcterms:W3CDTF">2015-09-08T15:18:57Z</dcterms:created>
  <dcterms:modified xsi:type="dcterms:W3CDTF">2017-12-14T01:3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5-09-07T00:00:00Z</vt:filetime>
  </property>
  <property fmtid="{D5CDD505-2E9C-101B-9397-08002B2CF9AE}" pid="3" name="Creator">
    <vt:lpwstr>Adobe InDesign CC 2015 (Macintosh)</vt:lpwstr>
  </property>
  <property fmtid="{D5CDD505-2E9C-101B-9397-08002B2CF9AE}" pid="4" name="LastSaved">
    <vt:filetime>2015-09-08T00:00:00Z</vt:filetime>
  </property>
</Properties>
</file>